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7"/>
  </p:notesMasterIdLst>
  <p:sldIdLst>
    <p:sldId id="1151" r:id="rId5"/>
    <p:sldId id="1233" r:id="rId6"/>
    <p:sldId id="1234" r:id="rId7"/>
    <p:sldId id="1235" r:id="rId8"/>
    <p:sldId id="1238" r:id="rId9"/>
    <p:sldId id="1239" r:id="rId10"/>
    <p:sldId id="1242" r:id="rId11"/>
    <p:sldId id="1243" r:id="rId12"/>
    <p:sldId id="1245" r:id="rId13"/>
    <p:sldId id="1246" r:id="rId14"/>
    <p:sldId id="1247" r:id="rId15"/>
    <p:sldId id="1071" r:id="rId16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libri Light" panose="020F0302020204030204" pitchFamily="34" charset="0"/>
      <p:regular r:id="rId22"/>
      <p:italic r:id="rId23"/>
    </p:embeddedFont>
    <p:embeddedFont>
      <p:font typeface="PT Sans Caption" panose="020B0603020203020204" pitchFamily="34" charset="0"/>
      <p:regular r:id="rId24"/>
      <p:bold r:id="rId25"/>
    </p:embeddedFont>
    <p:embeddedFont>
      <p:font typeface="Segoe UI" panose="020B0502040204020203" pitchFamily="34" charset="0"/>
      <p:regular r:id="rId26"/>
      <p:bold r:id="rId27"/>
      <p:italic r:id="rId28"/>
      <p:boldItalic r:id="rId29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2A13577-80DC-4065-AF1B-94BAD9523EC0}">
          <p14:sldIdLst>
            <p14:sldId id="1151"/>
            <p14:sldId id="1233"/>
            <p14:sldId id="1234"/>
            <p14:sldId id="1235"/>
            <p14:sldId id="1238"/>
            <p14:sldId id="1239"/>
            <p14:sldId id="1242"/>
            <p14:sldId id="1243"/>
            <p14:sldId id="1245"/>
            <p14:sldId id="1246"/>
            <p14:sldId id="1247"/>
            <p14:sldId id="10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42E"/>
    <a:srgbClr val="59595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06" autoAdjust="0"/>
    <p:restoredTop sz="94660"/>
  </p:normalViewPr>
  <p:slideViewPr>
    <p:cSldViewPr snapToGrid="0" showGuides="1">
      <p:cViewPr varScale="1">
        <p:scale>
          <a:sx n="99" d="100"/>
          <a:sy n="99" d="100"/>
        </p:scale>
        <p:origin x="208" y="320"/>
      </p:cViewPr>
      <p:guideLst>
        <p:guide orient="horz" pos="2115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9" d="100"/>
          <a:sy n="69" d="100"/>
        </p:scale>
        <p:origin x="-279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E80981-269E-473B-90FC-119FBB8E0DBD}" type="datetimeFigureOut">
              <a:rPr lang="ru-RU" smtClean="0"/>
              <a:pPr/>
              <a:t>22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5547E2-D3CC-4FAF-9070-0C28B89829E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726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30676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C86405-52EF-4306-81FF-7FC02950F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AC9E46A-B4E2-43F3-A148-FB8584CC7E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08B387-36B7-41E0-89B7-59950FE09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CAD52C1-DB65-4E01-952B-3677A3C062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608D8B0-E1C6-4F48-A48A-B39FEF795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6246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6D0FA4-025C-46BC-802F-8007324110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379EF73-760E-4A59-8845-A1F38211D1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C1B69C-DED4-4E26-86EE-0744195CE5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06E4166-EBF2-400F-9A36-15E793191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EAEBF4E-FFFD-4E8D-8526-8DA742531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6630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9A47074-6B5D-4130-8F3C-B22D42A0AB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C8126489-BD08-4002-95B0-7A68604DCA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7FF102C-4C49-41C5-8031-A6D71A2331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FF1F80-6E0E-48D7-ABF9-C04BB6DD1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231C055-6569-4A52-BD61-BF479784A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0445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044F7FB-13C2-492A-988C-0585980EE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EC9B169-0037-4612-AE54-0659201EA5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441816B-5A71-4473-8FA7-169CD4B70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DC6A059-C98B-4401-9C19-CF18BBC707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526A2DA-69FF-4755-A4D2-43AC4EBE22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4120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69106E-9313-42DD-B4C7-A4A1CFAF5E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A7D6284-CE0E-4A5B-AC80-EEB920C62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9F6DFDF-5B16-4920-8485-3C1DA76C43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B1DBB3B-14EF-4D43-9B62-1D147DA0C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66628E5-4E0D-407B-9692-9C2ED6863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40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3CD0BE-C503-4A94-92CF-330B9F068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113E29D-0C26-4C10-A712-6513F92254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A966ECC-6F6E-4D52-8F31-C5294F1ECE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79071DF-1323-47DC-9C39-569DDA84C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25E1149-2478-41B4-A398-2C515B0AFF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15592BC-88A5-46FF-81DF-295F08DAD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9578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75AA7B-C231-448E-A2DE-D836840FF4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B88CE0F-0711-46AE-BA03-BDD4C290B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1D565E8-12FC-4F02-85E2-0AD8BCEEF54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4886ED8-37C1-412A-B7B9-9B8189EDAF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C1D8BE9-AA86-43A8-A43D-7A39DEBF35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5B874D00-2363-4BF8-B0E6-5695F2D5D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75EA75E-AF3B-45D8-BE55-14DE32E697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66926E6-40BA-4546-A5B7-CCC65E75E5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1756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C482581-A9DE-49D8-8A8F-6BF8B4FFAA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515563-CB77-457B-B29A-AC74CF645F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0E10401F-25D3-4ADA-8030-61CCA8C40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4F1BB0C-1D91-43D0-ACC6-C6E05909E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9584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6178B09-B50B-4F0F-98B2-55311DAC0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A519E1A-832B-4432-8005-C407C1DEC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8351200-E27C-430B-B077-701D9C4CF9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4386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21BCFE-14F4-4578-9C3A-CCA369A9B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4E9DF5A-295E-4E5F-AD3C-EF31BAC6B0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EC963B3-17A1-4D44-A68C-8B145DE257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102BE6F-069C-46A6-B32C-81D034403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67EB8D2-3C93-4C60-9F56-1312A08ED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B55A432-B390-441D-A03E-C8EB181B4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1294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227D5B9-B52C-46BF-94BB-45EC46D1A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F9C9CA7-BC5A-4DE5-BF10-66E580C59C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97B97CF-3D81-465E-BC82-E3D9B61701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D131DA8-08BB-40CD-A3AF-3C8A1D5A62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451F49A-6FD0-46B1-9738-618C6396B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BAA17C6-C87B-4EFB-BB39-15FC169C1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084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B2F0F4-054B-4E48-8198-B0A527591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424BC8B-2C46-4711-B690-6F96C1EEDE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5713AC-0FCD-4F7C-BEDC-88719B0B43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AAC17A-075E-4A76-8E4F-5534E92C5D7F}" type="datetimeFigureOut">
              <a:rPr lang="ru-RU" smtClean="0"/>
              <a:pPr/>
              <a:t>22.05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3A55CE7-2D11-4FDB-AB40-A9597DE542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087B468-4E33-4FFF-B6E4-A24D40E5C1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4D6B57-65A2-4294-AD20-FBE31CEA1EC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17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5.png"/><Relationship Id="rId4" Type="http://schemas.openxmlformats.org/officeDocument/2006/relationships/image" Target="../media/image11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79F1AB8-3B08-D341-8331-17B1EEB62DB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6188" y="0"/>
            <a:ext cx="6975812" cy="6858000"/>
          </a:xfrm>
          <a:prstGeom prst="rect">
            <a:avLst/>
          </a:prstGeom>
        </p:spPr>
      </p:pic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id="{2CDA66B2-087D-5A44-87A2-C6BB6E3DE607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784090"/>
            <a:ext cx="6189998" cy="10309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cs typeface="Segoe UI" panose="020B0502040204020203" pitchFamily="34" charset="0"/>
              </a:rPr>
              <a:t>Маркировка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cs typeface="Segoe UI" panose="020B0502040204020203" pitchFamily="34" charset="0"/>
              </a:rPr>
              <a:t>альтернативной табачной продукции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53194" y="2214305"/>
            <a:ext cx="4504417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079" y="5396463"/>
            <a:ext cx="3920996" cy="733563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3642103"/>
            <a:ext cx="3449697" cy="7335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дрей Железнов</a:t>
            </a:r>
          </a:p>
          <a:p>
            <a:pPr defTabSz="839852">
              <a:lnSpc>
                <a:spcPct val="100000"/>
              </a:lnSpc>
            </a:pPr>
            <a: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проекта АТП</a:t>
            </a:r>
          </a:p>
        </p:txBody>
      </p:sp>
    </p:spTree>
    <p:extLst>
      <p:ext uri="{BB962C8B-B14F-4D97-AF65-F5344CB8AC3E}">
        <p14:creationId xmlns:p14="http://schemas.microsoft.com/office/powerpoint/2010/main" val="433240943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293816"/>
            <a:ext cx="7289865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работает делать решение для опта?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05AE8548-5401-6A44-9CF7-F0CD91F792BB}"/>
              </a:ext>
            </a:extLst>
          </p:cNvPr>
          <p:cNvSpPr txBox="1"/>
          <p:nvPr/>
        </p:nvSpPr>
        <p:spPr>
          <a:xfrm>
            <a:off x="1808490" y="1598925"/>
            <a:ext cx="5725759" cy="159146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олжен делать? </a:t>
            </a:r>
          </a:p>
          <a:p>
            <a:pPr marL="457200" lvl="0" indent="-45720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лучать и формировать электронные УПД </a:t>
            </a:r>
          </a:p>
          <a:p>
            <a:pPr marL="457200" lvl="0" indent="-45720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читывать коды маркировки при приемке   и формировании отгрузки.</a:t>
            </a: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3F469703-AAAA-7649-B5E9-1555DA7CE7F0}"/>
              </a:ext>
            </a:extLst>
          </p:cNvPr>
          <p:cNvSpPr txBox="1"/>
          <p:nvPr/>
        </p:nvSpPr>
        <p:spPr>
          <a:xfrm>
            <a:off x="1808490" y="3634192"/>
            <a:ext cx="4226934" cy="41165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ля этого нужно?</a:t>
            </a:r>
          </a:p>
        </p:txBody>
      </p:sp>
      <p:pic>
        <p:nvPicPr>
          <p:cNvPr id="6" name="Picture 26">
            <a:extLst>
              <a:ext uri="{FF2B5EF4-FFF2-40B4-BE49-F238E27FC236}">
                <a16:creationId xmlns:a16="http://schemas.microsoft.com/office/drawing/2014/main" id="{D4B00AEE-1CCD-5A47-8501-B5F189E40E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857" y="4337706"/>
            <a:ext cx="824404" cy="1080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EE33A5E-2ECB-9940-B182-EB36566A8903}"/>
              </a:ext>
            </a:extLst>
          </p:cNvPr>
          <p:cNvSpPr txBox="1"/>
          <p:nvPr/>
        </p:nvSpPr>
        <p:spPr>
          <a:xfrm>
            <a:off x="1759666" y="5546123"/>
            <a:ext cx="150874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ключение</a:t>
            </a:r>
          </a:p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 ЮЗ ЭДО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74648A4-E763-8942-B434-333238A8B1F5}"/>
              </a:ext>
            </a:extLst>
          </p:cNvPr>
          <p:cNvSpPr/>
          <p:nvPr/>
        </p:nvSpPr>
        <p:spPr>
          <a:xfrm>
            <a:off x="4938545" y="5546123"/>
            <a:ext cx="147848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еры, ТСД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4A26D6-20EE-4E4F-A253-7F3C235B3BD8}"/>
              </a:ext>
            </a:extLst>
          </p:cNvPr>
          <p:cNvSpPr/>
          <p:nvPr/>
        </p:nvSpPr>
        <p:spPr>
          <a:xfrm>
            <a:off x="8095061" y="5546123"/>
            <a:ext cx="20933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работка учетного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ли складского ПО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CC9761E4-D010-B943-86C4-F1D2B0138349}"/>
              </a:ext>
            </a:extLst>
          </p:cNvPr>
          <p:cNvCxnSpPr>
            <a:cxnSpLocks/>
          </p:cNvCxnSpPr>
          <p:nvPr/>
        </p:nvCxnSpPr>
        <p:spPr>
          <a:xfrm>
            <a:off x="3859619" y="4455901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3C6E35FF-0077-404D-B2B9-5C894E50A601}"/>
              </a:ext>
            </a:extLst>
          </p:cNvPr>
          <p:cNvCxnSpPr>
            <a:cxnSpLocks/>
          </p:cNvCxnSpPr>
          <p:nvPr/>
        </p:nvCxnSpPr>
        <p:spPr>
          <a:xfrm>
            <a:off x="7495953" y="4455901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6">
            <a:extLst>
              <a:ext uri="{FF2B5EF4-FFF2-40B4-BE49-F238E27FC236}">
                <a16:creationId xmlns:a16="http://schemas.microsoft.com/office/drawing/2014/main" id="{82D4D66A-0631-D149-801C-F3AC5B93089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94039" y="4157706"/>
            <a:ext cx="1440000" cy="1440000"/>
          </a:xfrm>
          <a:prstGeom prst="rect">
            <a:avLst/>
          </a:prstGeom>
        </p:spPr>
      </p:pic>
      <p:pic>
        <p:nvPicPr>
          <p:cNvPr id="3" name="Рисунок 2" descr="Изображение выглядит как желтый, знак, часы&#10;&#10;Автоматически созданное описание">
            <a:extLst>
              <a:ext uri="{FF2B5EF4-FFF2-40B4-BE49-F238E27FC236}">
                <a16:creationId xmlns:a16="http://schemas.microsoft.com/office/drawing/2014/main" id="{764A527E-2858-4546-9B44-2973E76726C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5505" y="4293987"/>
            <a:ext cx="1149456" cy="1149456"/>
          </a:xfrm>
          <a:prstGeom prst="rect">
            <a:avLst/>
          </a:prstGeom>
        </p:spPr>
      </p:pic>
      <p:pic>
        <p:nvPicPr>
          <p:cNvPr id="15" name="Рисунок 1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7D8C9DA9-2203-124C-9400-52DBA56FAAA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116" y="4215096"/>
            <a:ext cx="1382610" cy="1382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3672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A8AAF094-0C87-E84C-98D5-E3F19CA7C8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7718" y="4349946"/>
            <a:ext cx="1270062" cy="1270062"/>
          </a:xfrm>
          <a:prstGeom prst="rect">
            <a:avLst/>
          </a:prstGeom>
        </p:spPr>
      </p:pic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293816"/>
            <a:ext cx="7819255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работает решение для производителя?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42CF48BE-083C-874D-BFF2-ED7F8C49D7BA}"/>
              </a:ext>
            </a:extLst>
          </p:cNvPr>
          <p:cNvSpPr txBox="1"/>
          <p:nvPr/>
        </p:nvSpPr>
        <p:spPr>
          <a:xfrm>
            <a:off x="1808490" y="3634192"/>
            <a:ext cx="4226934" cy="41165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ля этого нужно?</a:t>
            </a: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285E3218-0367-8F4C-A781-02BBF0B0B8D9}"/>
              </a:ext>
            </a:extLst>
          </p:cNvPr>
          <p:cNvSpPr txBox="1"/>
          <p:nvPr/>
        </p:nvSpPr>
        <p:spPr>
          <a:xfrm>
            <a:off x="1808490" y="1330450"/>
            <a:ext cx="7271715" cy="215571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олжен делать? </a:t>
            </a: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лучать у ЦРПТ коды маркировки</a:t>
            </a:r>
            <a:endParaRPr lang="en-US" sz="20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носить коды на продукцию</a:t>
            </a:r>
            <a:endParaRPr lang="en-US" sz="20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ормировать электронный УПД с кодами маркировки</a:t>
            </a:r>
            <a:endParaRPr lang="en-US" sz="20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ировать товар при формировании отгрузки</a:t>
            </a:r>
            <a:endParaRPr lang="en-US" sz="20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D7AB7C-5B6F-384E-B1EB-ACB4F15EBA03}"/>
              </a:ext>
            </a:extLst>
          </p:cNvPr>
          <p:cNvSpPr/>
          <p:nvPr/>
        </p:nvSpPr>
        <p:spPr>
          <a:xfrm>
            <a:off x="3295170" y="5680433"/>
            <a:ext cx="256352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ы: ручные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ли встроенные в линию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AE94B80-BA69-B141-9984-EA5D9FAA4613}"/>
              </a:ext>
            </a:extLst>
          </p:cNvPr>
          <p:cNvSpPr/>
          <p:nvPr/>
        </p:nvSpPr>
        <p:spPr>
          <a:xfrm>
            <a:off x="6484377" y="5680433"/>
            <a:ext cx="255788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ключение к ЮЗ ЭДО,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еры, ТСД</a:t>
            </a:r>
          </a:p>
        </p:txBody>
      </p:sp>
      <p:cxnSp>
        <p:nvCxnSpPr>
          <p:cNvPr id="10" name="Straight Connector 5">
            <a:extLst>
              <a:ext uri="{FF2B5EF4-FFF2-40B4-BE49-F238E27FC236}">
                <a16:creationId xmlns:a16="http://schemas.microsoft.com/office/drawing/2014/main" id="{D50405A8-1C54-FC43-9733-825AAFB15FE5}"/>
              </a:ext>
            </a:extLst>
          </p:cNvPr>
          <p:cNvCxnSpPr>
            <a:cxnSpLocks/>
          </p:cNvCxnSpPr>
          <p:nvPr/>
        </p:nvCxnSpPr>
        <p:spPr>
          <a:xfrm>
            <a:off x="3096435" y="4540008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5">
            <a:extLst>
              <a:ext uri="{FF2B5EF4-FFF2-40B4-BE49-F238E27FC236}">
                <a16:creationId xmlns:a16="http://schemas.microsoft.com/office/drawing/2014/main" id="{F87892D4-6223-E146-9CE4-ACEAE87E4B64}"/>
              </a:ext>
            </a:extLst>
          </p:cNvPr>
          <p:cNvCxnSpPr>
            <a:cxnSpLocks/>
          </p:cNvCxnSpPr>
          <p:nvPr/>
        </p:nvCxnSpPr>
        <p:spPr>
          <a:xfrm>
            <a:off x="6233039" y="4540008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5">
            <a:extLst>
              <a:ext uri="{FF2B5EF4-FFF2-40B4-BE49-F238E27FC236}">
                <a16:creationId xmlns:a16="http://schemas.microsoft.com/office/drawing/2014/main" id="{039B56D4-B998-1C41-9076-10789B4005DD}"/>
              </a:ext>
            </a:extLst>
          </p:cNvPr>
          <p:cNvCxnSpPr>
            <a:cxnSpLocks/>
          </p:cNvCxnSpPr>
          <p:nvPr/>
        </p:nvCxnSpPr>
        <p:spPr>
          <a:xfrm>
            <a:off x="9327113" y="4540008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F3728DE-0D68-EC49-B4D0-786E2B49BF77}"/>
              </a:ext>
            </a:extLst>
          </p:cNvPr>
          <p:cNvSpPr/>
          <p:nvPr/>
        </p:nvSpPr>
        <p:spPr>
          <a:xfrm>
            <a:off x="303497" y="5680433"/>
            <a:ext cx="245990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б-интерфейс ГИС МТ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ли отдельное решение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ля заказа кодов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7CE39C6-2037-9446-90B8-0121E12EFB77}"/>
              </a:ext>
            </a:extLst>
          </p:cNvPr>
          <p:cNvSpPr/>
          <p:nvPr/>
        </p:nvSpPr>
        <p:spPr>
          <a:xfrm>
            <a:off x="9656721" y="5680433"/>
            <a:ext cx="20933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работка учетного</a:t>
            </a:r>
          </a:p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ли складского ПО</a:t>
            </a:r>
          </a:p>
        </p:txBody>
      </p:sp>
      <p:pic>
        <p:nvPicPr>
          <p:cNvPr id="17" name="Picture 26">
            <a:extLst>
              <a:ext uri="{FF2B5EF4-FFF2-40B4-BE49-F238E27FC236}">
                <a16:creationId xmlns:a16="http://schemas.microsoft.com/office/drawing/2014/main" id="{9A770CC6-C0C0-0040-AB21-BC1E357143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4828" y="4377943"/>
            <a:ext cx="1440000" cy="1440000"/>
          </a:xfrm>
          <a:prstGeom prst="rect">
            <a:avLst/>
          </a:prstGeom>
        </p:spPr>
      </p:pic>
      <p:pic>
        <p:nvPicPr>
          <p:cNvPr id="18" name="Picture 26">
            <a:extLst>
              <a:ext uri="{FF2B5EF4-FFF2-40B4-BE49-F238E27FC236}">
                <a16:creationId xmlns:a16="http://schemas.microsoft.com/office/drawing/2014/main" id="{41EFC8C7-709B-A047-82C2-9AD82479664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0776" y="4540008"/>
            <a:ext cx="824404" cy="1080000"/>
          </a:xfrm>
          <a:prstGeom prst="rect">
            <a:avLst/>
          </a:prstGeom>
        </p:spPr>
      </p:pic>
      <p:pic>
        <p:nvPicPr>
          <p:cNvPr id="19" name="Рисунок 18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D1BAD9E7-BD0D-F04B-BDE4-E034B7ABEFD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4419" y="4377943"/>
            <a:ext cx="1382610" cy="138261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8A8A225-30A7-1144-865C-F8139C1566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558" y="4774019"/>
            <a:ext cx="1037966" cy="1037966"/>
          </a:xfrm>
          <a:prstGeom prst="rect">
            <a:avLst/>
          </a:prstGeom>
        </p:spPr>
      </p:pic>
      <p:pic>
        <p:nvPicPr>
          <p:cNvPr id="23" name="Рисунок 22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516C2876-F932-0948-8244-22C014C66F9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050" y="4504537"/>
            <a:ext cx="1135589" cy="1135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7031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7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546566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1358553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C290CDC-A662-DC4F-912B-DB0BDDEC62AC}"/>
              </a:ext>
            </a:extLst>
          </p:cNvPr>
          <p:cNvSpPr txBox="1">
            <a:spLocks/>
          </p:cNvSpPr>
          <p:nvPr/>
        </p:nvSpPr>
        <p:spPr>
          <a:xfrm>
            <a:off x="734677" y="3642102"/>
            <a:ext cx="3449697" cy="103096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дрей Железнов</a:t>
            </a:r>
          </a:p>
          <a:p>
            <a:pPr defTabSz="839852">
              <a:lnSpc>
                <a:spcPct val="100000"/>
              </a:lnSpc>
            </a:pPr>
            <a: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проекта АТП</a:t>
            </a:r>
          </a:p>
          <a:p>
            <a:pPr defTabSz="839852">
              <a:lnSpc>
                <a:spcPct val="100000"/>
              </a:lnSpc>
            </a:pPr>
            <a:r>
              <a:rPr lang="en" sz="2000" b="0" u="sng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.zheleznov@crpt.ru</a:t>
            </a:r>
            <a:endParaRPr lang="ru-RU" sz="2000" b="0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42B1411D-3090-1648-9FFE-63DDAE8292B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079" y="5396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92666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645BA59C-9701-B44C-9CE1-ED6A030E114E}"/>
              </a:ext>
            </a:extLst>
          </p:cNvPr>
          <p:cNvSpPr/>
          <p:nvPr/>
        </p:nvSpPr>
        <p:spPr>
          <a:xfrm>
            <a:off x="675041" y="2135495"/>
            <a:ext cx="10838672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endParaRPr lang="en-US" sz="2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845914" y="2352068"/>
            <a:ext cx="5542008" cy="412805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Aft>
                <a:spcPts val="1500"/>
              </a:spcAft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именование продукции</a:t>
            </a:r>
            <a:endParaRPr lang="ru-RU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игары, сигары с обрезанными концами (</a:t>
            </a:r>
            <a:r>
              <a:rPr lang="ru-RU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еруты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)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игариллы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(сигары тонкие)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Биди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ретек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абак курительный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рубочный табак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абак для кальяна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абак жевательный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абак нюхательный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1" y="293816"/>
            <a:ext cx="6871979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льтернативная табачная продукция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E6576EDE-CF48-F84F-A1A9-C8BB9EAA42FE}"/>
              </a:ext>
            </a:extLst>
          </p:cNvPr>
          <p:cNvSpPr txBox="1"/>
          <p:nvPr/>
        </p:nvSpPr>
        <p:spPr>
          <a:xfrm>
            <a:off x="1077733" y="1325630"/>
            <a:ext cx="7383687" cy="6270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20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абачная продукция, подлежащая обязательной маркировке с 1 июля 2020</a:t>
            </a:r>
          </a:p>
        </p:txBody>
      </p:sp>
      <p:sp>
        <p:nvSpPr>
          <p:cNvPr id="5" name="object 10">
            <a:extLst>
              <a:ext uri="{FF2B5EF4-FFF2-40B4-BE49-F238E27FC236}">
                <a16:creationId xmlns:a16="http://schemas.microsoft.com/office/drawing/2014/main" id="{1C85A4F6-7496-4F44-AEA1-A58D7C1E4832}"/>
              </a:ext>
            </a:extLst>
          </p:cNvPr>
          <p:cNvSpPr txBox="1"/>
          <p:nvPr/>
        </p:nvSpPr>
        <p:spPr>
          <a:xfrm>
            <a:off x="6746484" y="2352068"/>
            <a:ext cx="1601072" cy="412805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Aft>
                <a:spcPts val="1500"/>
              </a:spcAft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ОКПД2 </a:t>
            </a:r>
            <a:endParaRPr lang="ru-RU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1.11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1.12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1.15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1.16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9.11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9.12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9.13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9.14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2.00.19.160</a:t>
            </a: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5493337A-8120-5245-93C6-F1B272ED0623}"/>
              </a:ext>
            </a:extLst>
          </p:cNvPr>
          <p:cNvSpPr txBox="1"/>
          <p:nvPr/>
        </p:nvSpPr>
        <p:spPr>
          <a:xfrm>
            <a:off x="9126828" y="2352068"/>
            <a:ext cx="2219258" cy="412805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Aft>
                <a:spcPts val="1500"/>
              </a:spcAft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Н ВЭД ЕАЭС</a:t>
            </a:r>
            <a:endParaRPr lang="ru-RU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2 10 0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2 10 0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2 20 9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2 20 1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3 19 1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3 19 1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3 11 0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3 99 100 0 </a:t>
            </a: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403 99 100 0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F897207-D3FB-BB4C-994F-5207EAD2A557}"/>
              </a:ext>
            </a:extLst>
          </p:cNvPr>
          <p:cNvCxnSpPr/>
          <p:nvPr/>
        </p:nvCxnSpPr>
        <p:spPr>
          <a:xfrm>
            <a:off x="675041" y="3296145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4AD8DACA-C7A1-0F43-B323-A2F5CB68513D}"/>
              </a:ext>
            </a:extLst>
          </p:cNvPr>
          <p:cNvCxnSpPr/>
          <p:nvPr/>
        </p:nvCxnSpPr>
        <p:spPr>
          <a:xfrm>
            <a:off x="675041" y="3693187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3973CB3-54C4-FB48-8365-78B5352AAD6E}"/>
              </a:ext>
            </a:extLst>
          </p:cNvPr>
          <p:cNvCxnSpPr/>
          <p:nvPr/>
        </p:nvCxnSpPr>
        <p:spPr>
          <a:xfrm>
            <a:off x="675041" y="4090229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43ABB7DE-9054-D644-AE5F-75F767FC636E}"/>
              </a:ext>
            </a:extLst>
          </p:cNvPr>
          <p:cNvCxnSpPr/>
          <p:nvPr/>
        </p:nvCxnSpPr>
        <p:spPr>
          <a:xfrm>
            <a:off x="675041" y="4487271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024CADFA-BD41-7B4C-807F-D0D3B7B4988C}"/>
              </a:ext>
            </a:extLst>
          </p:cNvPr>
          <p:cNvCxnSpPr/>
          <p:nvPr/>
        </p:nvCxnSpPr>
        <p:spPr>
          <a:xfrm>
            <a:off x="675041" y="4872282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2B4C81CA-6716-9C4D-86AD-41ACEF197701}"/>
              </a:ext>
            </a:extLst>
          </p:cNvPr>
          <p:cNvCxnSpPr/>
          <p:nvPr/>
        </p:nvCxnSpPr>
        <p:spPr>
          <a:xfrm>
            <a:off x="675041" y="5293387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EA2BA3AC-9F3D-2A42-98AD-0B014B05173D}"/>
              </a:ext>
            </a:extLst>
          </p:cNvPr>
          <p:cNvCxnSpPr/>
          <p:nvPr/>
        </p:nvCxnSpPr>
        <p:spPr>
          <a:xfrm>
            <a:off x="675041" y="5690429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633EF57D-F571-5843-930D-57106CF0F231}"/>
              </a:ext>
            </a:extLst>
          </p:cNvPr>
          <p:cNvCxnSpPr/>
          <p:nvPr/>
        </p:nvCxnSpPr>
        <p:spPr>
          <a:xfrm>
            <a:off x="675041" y="6099503"/>
            <a:ext cx="10735641" cy="0"/>
          </a:xfrm>
          <a:prstGeom prst="line">
            <a:avLst/>
          </a:prstGeom>
          <a:ln w="25400">
            <a:solidFill>
              <a:srgbClr val="59595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380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160DD89-B888-9F46-9EF9-E001E1FBDF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42241" y="0"/>
            <a:ext cx="6149759" cy="6858000"/>
          </a:xfrm>
          <a:prstGeom prst="rect">
            <a:avLst/>
          </a:prstGeom>
        </p:spPr>
      </p:pic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1" y="293816"/>
            <a:ext cx="3788675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B8DE2958-0316-AB45-BAE4-7510D90DC9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06" y="1559345"/>
            <a:ext cx="288000" cy="288000"/>
          </a:xfrm>
          <a:prstGeom prst="rect">
            <a:avLst/>
          </a:prstGeom>
        </p:spPr>
      </p:pic>
      <p:pic>
        <p:nvPicPr>
          <p:cNvPr id="23" name="Picture 38">
            <a:extLst>
              <a:ext uri="{FF2B5EF4-FFF2-40B4-BE49-F238E27FC236}">
                <a16:creationId xmlns:a16="http://schemas.microsoft.com/office/drawing/2014/main" id="{7C283FBF-68D5-D341-BBC6-6C40C5B194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06" y="4081435"/>
            <a:ext cx="288000" cy="288000"/>
          </a:xfrm>
          <a:prstGeom prst="rect">
            <a:avLst/>
          </a:prstGeom>
        </p:spPr>
      </p:pic>
      <p:sp>
        <p:nvSpPr>
          <p:cNvPr id="25" name="object 10">
            <a:extLst>
              <a:ext uri="{FF2B5EF4-FFF2-40B4-BE49-F238E27FC236}">
                <a16:creationId xmlns:a16="http://schemas.microsoft.com/office/drawing/2014/main" id="{02ACD0C1-01C5-134C-95CF-EA4ED1DB9B40}"/>
              </a:ext>
            </a:extLst>
          </p:cNvPr>
          <p:cNvSpPr txBox="1"/>
          <p:nvPr/>
        </p:nvSpPr>
        <p:spPr>
          <a:xfrm>
            <a:off x="1464565" y="1537367"/>
            <a:ext cx="5237025" cy="108876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едеральный закон № 15-ФЗ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б охране здоровья граждан от воздействия окружающего табачного дыма и последствий потребления табака». Изменения в статью 18 в части обеспечения маркировки товаров средствами идентификации.</a:t>
            </a: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0527081B-D2C4-1748-BD6B-BE7AE0E22E2E}"/>
              </a:ext>
            </a:extLst>
          </p:cNvPr>
          <p:cNvSpPr txBox="1"/>
          <p:nvPr/>
        </p:nvSpPr>
        <p:spPr>
          <a:xfrm>
            <a:off x="1464565" y="3018121"/>
            <a:ext cx="5585939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становление Правительства РФ от 28 февраля 2019 г. №224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б утверждении Правил маркировки табачной продукции…»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id="{1821640F-679B-834B-89C4-3C828F5A9D92}"/>
              </a:ext>
            </a:extLst>
          </p:cNvPr>
          <p:cNvSpPr txBox="1"/>
          <p:nvPr/>
        </p:nvSpPr>
        <p:spPr>
          <a:xfrm>
            <a:off x="1464566" y="4081435"/>
            <a:ext cx="4815916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шение комиссии ЕАЭК от 19 ноября 2019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 внесении изменений в в пункт 15 Порядка заполнения декларации на товары»</a:t>
            </a:r>
          </a:p>
        </p:txBody>
      </p:sp>
      <p:pic>
        <p:nvPicPr>
          <p:cNvPr id="29" name="Picture 38">
            <a:extLst>
              <a:ext uri="{FF2B5EF4-FFF2-40B4-BE49-F238E27FC236}">
                <a16:creationId xmlns:a16="http://schemas.microsoft.com/office/drawing/2014/main" id="{2E8CCEA6-AC87-554B-BC7E-19BBEBC31A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06" y="5242198"/>
            <a:ext cx="288000" cy="288000"/>
          </a:xfrm>
          <a:prstGeom prst="rect">
            <a:avLst/>
          </a:prstGeom>
        </p:spPr>
      </p:pic>
      <p:sp>
        <p:nvSpPr>
          <p:cNvPr id="31" name="object 10">
            <a:extLst>
              <a:ext uri="{FF2B5EF4-FFF2-40B4-BE49-F238E27FC236}">
                <a16:creationId xmlns:a16="http://schemas.microsoft.com/office/drawing/2014/main" id="{E13C80FB-5AC9-434E-AD09-0E1BE9A7B16F}"/>
              </a:ext>
            </a:extLst>
          </p:cNvPr>
          <p:cNvSpPr txBox="1"/>
          <p:nvPr/>
        </p:nvSpPr>
        <p:spPr>
          <a:xfrm>
            <a:off x="1464566" y="5242198"/>
            <a:ext cx="5585938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ЕТОДИЧЕСКИЕ РЕКОМЕНДАЦИИ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 маркировке отдельных видов табачной продукции, подлежащих обязательной маркировке с 1 июля 2020 г</a:t>
            </a:r>
          </a:p>
        </p:txBody>
      </p:sp>
      <p:pic>
        <p:nvPicPr>
          <p:cNvPr id="32" name="Picture 2">
            <a:extLst>
              <a:ext uri="{FF2B5EF4-FFF2-40B4-BE49-F238E27FC236}">
                <a16:creationId xmlns:a16="http://schemas.microsoft.com/office/drawing/2014/main" id="{4A70A412-F71D-BB46-B4C7-2AB513C1B8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2606" y="2983887"/>
            <a:ext cx="288000" cy="288000"/>
          </a:xfrm>
          <a:prstGeom prst="rect">
            <a:avLst/>
          </a:prstGeom>
        </p:spPr>
      </p:pic>
      <p:sp>
        <p:nvSpPr>
          <p:cNvPr id="33" name="object 10">
            <a:extLst>
              <a:ext uri="{FF2B5EF4-FFF2-40B4-BE49-F238E27FC236}">
                <a16:creationId xmlns:a16="http://schemas.microsoft.com/office/drawing/2014/main" id="{339E751D-9125-904D-B5E4-DFECAAC918D8}"/>
              </a:ext>
            </a:extLst>
          </p:cNvPr>
          <p:cNvSpPr txBox="1"/>
          <p:nvPr/>
        </p:nvSpPr>
        <p:spPr>
          <a:xfrm>
            <a:off x="1464565" y="6459634"/>
            <a:ext cx="3788676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*</a:t>
            </a: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е эти документы есть на сайте </a:t>
            </a:r>
            <a:r>
              <a:rPr lang="ru-RU" sz="12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естныйзнак.рф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</p:spTree>
    <p:extLst>
      <p:ext uri="{BB962C8B-B14F-4D97-AF65-F5344CB8AC3E}">
        <p14:creationId xmlns:p14="http://schemas.microsoft.com/office/powerpoint/2010/main" val="2131726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1" y="293816"/>
            <a:ext cx="8095980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и внедрения обязательной маркировки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3BACD306-92CE-AC43-876C-A579FD872BCE}"/>
              </a:ext>
            </a:extLst>
          </p:cNvPr>
          <p:cNvCxnSpPr>
            <a:cxnSpLocks/>
          </p:cNvCxnSpPr>
          <p:nvPr/>
        </p:nvCxnSpPr>
        <p:spPr>
          <a:xfrm>
            <a:off x="1031877" y="2801713"/>
            <a:ext cx="10223016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1">
            <a:extLst>
              <a:ext uri="{FF2B5EF4-FFF2-40B4-BE49-F238E27FC236}">
                <a16:creationId xmlns:a16="http://schemas.microsoft.com/office/drawing/2014/main" id="{A0C94D67-5FC9-6C46-A465-289BAFA21708}"/>
              </a:ext>
            </a:extLst>
          </p:cNvPr>
          <p:cNvSpPr/>
          <p:nvPr/>
        </p:nvSpPr>
        <p:spPr>
          <a:xfrm>
            <a:off x="1026433" y="1698946"/>
            <a:ext cx="1720121" cy="74885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марта 2019 года</a:t>
            </a:r>
          </a:p>
        </p:txBody>
      </p:sp>
      <p:sp>
        <p:nvSpPr>
          <p:cNvPr id="15" name="Скругленный прямоугольник 131">
            <a:extLst>
              <a:ext uri="{FF2B5EF4-FFF2-40B4-BE49-F238E27FC236}">
                <a16:creationId xmlns:a16="http://schemas.microsoft.com/office/drawing/2014/main" id="{E634809C-ECD9-9045-93B8-CCE94F342BC9}"/>
              </a:ext>
            </a:extLst>
          </p:cNvPr>
          <p:cNvSpPr/>
          <p:nvPr/>
        </p:nvSpPr>
        <p:spPr>
          <a:xfrm>
            <a:off x="4111046" y="1698946"/>
            <a:ext cx="1720121" cy="74885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июля 2020 года</a:t>
            </a:r>
          </a:p>
        </p:txBody>
      </p:sp>
      <p:sp>
        <p:nvSpPr>
          <p:cNvPr id="16" name="Скругленный прямоугольник 131">
            <a:extLst>
              <a:ext uri="{FF2B5EF4-FFF2-40B4-BE49-F238E27FC236}">
                <a16:creationId xmlns:a16="http://schemas.microsoft.com/office/drawing/2014/main" id="{48D0298E-6E81-AA4D-8565-F1F9F0F529B5}"/>
              </a:ext>
            </a:extLst>
          </p:cNvPr>
          <p:cNvSpPr/>
          <p:nvPr/>
        </p:nvSpPr>
        <p:spPr>
          <a:xfrm>
            <a:off x="8187845" y="1698946"/>
            <a:ext cx="1720121" cy="74885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июля 2021 года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B168CF68-75B2-194C-BC8C-85CE566AADE7}"/>
              </a:ext>
            </a:extLst>
          </p:cNvPr>
          <p:cNvSpPr txBox="1"/>
          <p:nvPr/>
        </p:nvSpPr>
        <p:spPr>
          <a:xfrm>
            <a:off x="1010453" y="3249981"/>
            <a:ext cx="3067048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импортеров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производителей  табачной продукции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id="{3BB68D59-83FB-DF46-87A2-CE6EC57B851B}"/>
              </a:ext>
            </a:extLst>
          </p:cNvPr>
          <p:cNvSpPr txBox="1"/>
          <p:nvPr/>
        </p:nvSpPr>
        <p:spPr>
          <a:xfrm>
            <a:off x="4077501" y="3249981"/>
            <a:ext cx="3507333" cy="302775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екращение ввоза на территорию РФ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маркированной продукции </a:t>
            </a:r>
          </a:p>
          <a:p>
            <a:pPr lvl="0" defTabSz="1193566" hangingPunct="0"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екращение производства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территории РФ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маркированной продукции </a:t>
            </a:r>
          </a:p>
          <a:p>
            <a:pPr lvl="0" defTabSz="1193566" hangingPunct="0"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продажи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маркированной продукции конечным потребителям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омощи ККТ. </a:t>
            </a:r>
          </a:p>
          <a:p>
            <a:pPr lvl="0" defTabSz="1193566" hangingPunct="0"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оборота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ркированной продукции между участниками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использованием УПД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439FC737-A5E9-B641-8243-8C0A5D1548EB}"/>
              </a:ext>
            </a:extLst>
          </p:cNvPr>
          <p:cNvSpPr txBox="1"/>
          <p:nvPr/>
        </p:nvSpPr>
        <p:spPr>
          <a:xfrm>
            <a:off x="8187845" y="3249981"/>
            <a:ext cx="3067048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екращение оборота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немаркированной продукции (в том числе в оптовом звене). Прочие виды табачной продукции</a:t>
            </a:r>
          </a:p>
          <a:p>
            <a:pPr lvl="0" defTabSz="1193566" hangingPunct="0"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июля 2021 складские остатки должны быть маркированы</a:t>
            </a:r>
          </a:p>
        </p:txBody>
      </p:sp>
      <p:pic>
        <p:nvPicPr>
          <p:cNvPr id="21" name="Picture 58">
            <a:extLst>
              <a:ext uri="{FF2B5EF4-FFF2-40B4-BE49-F238E27FC236}">
                <a16:creationId xmlns:a16="http://schemas.microsoft.com/office/drawing/2014/main" id="{58BF5316-2997-BC43-8B6D-FFC80DF9E2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4913" y="2627877"/>
            <a:ext cx="360000" cy="360000"/>
          </a:xfrm>
          <a:prstGeom prst="rect">
            <a:avLst/>
          </a:prstGeom>
        </p:spPr>
      </p:pic>
      <p:pic>
        <p:nvPicPr>
          <p:cNvPr id="22" name="Picture 58">
            <a:extLst>
              <a:ext uri="{FF2B5EF4-FFF2-40B4-BE49-F238E27FC236}">
                <a16:creationId xmlns:a16="http://schemas.microsoft.com/office/drawing/2014/main" id="{BCB657A9-7A99-D644-AF47-E792A059F4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8331" y="2627877"/>
            <a:ext cx="360000" cy="360000"/>
          </a:xfrm>
          <a:prstGeom prst="rect">
            <a:avLst/>
          </a:prstGeom>
        </p:spPr>
      </p:pic>
      <p:pic>
        <p:nvPicPr>
          <p:cNvPr id="24" name="Picture 58">
            <a:extLst>
              <a:ext uri="{FF2B5EF4-FFF2-40B4-BE49-F238E27FC236}">
                <a16:creationId xmlns:a16="http://schemas.microsoft.com/office/drawing/2014/main" id="{57F07B16-6DFD-8C43-B96C-C1F1DF6900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5148" y="2627877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68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901708" y="2288080"/>
            <a:ext cx="8044584" cy="284308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14350" lvl="0" indent="-514350" defTabSz="1193566" hangingPunct="0">
              <a:buFont typeface="+mj-lt"/>
              <a:buAutoNum type="arabicPeriod"/>
              <a:defRPr/>
            </a:pPr>
            <a:r>
              <a:rPr lang="ru-RU" sz="23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маркировки можно наносить на этикетку, а не только на саму пачку </a:t>
            </a:r>
          </a:p>
          <a:p>
            <a:pPr marL="514350" lvl="0" indent="-514350" defTabSz="1193566" hangingPunct="0">
              <a:buFont typeface="+mj-lt"/>
              <a:buAutoNum type="arabicPeriod"/>
              <a:defRPr/>
            </a:pPr>
            <a:endParaRPr lang="ru-RU" sz="23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514350" lvl="0" indent="-514350" defTabSz="1193566" hangingPunct="0">
              <a:buFont typeface="+mj-lt"/>
              <a:buAutoNum type="arabicPeriod"/>
              <a:defRPr/>
            </a:pPr>
            <a:r>
              <a:rPr lang="ru-RU" sz="23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маркировки потребительской упаковки может быть по формату </a:t>
            </a:r>
            <a:r>
              <a:rPr lang="en" sz="23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GS1 </a:t>
            </a:r>
            <a:r>
              <a:rPr lang="ru-RU" sz="23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без МРЦ </a:t>
            </a:r>
          </a:p>
          <a:p>
            <a:pPr marL="514350" lvl="0" indent="-514350" defTabSz="1193566" hangingPunct="0">
              <a:buFont typeface="+mj-lt"/>
              <a:buAutoNum type="arabicPeriod"/>
              <a:defRPr/>
            </a:pPr>
            <a:endParaRPr lang="ru-RU" sz="23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514350" lvl="0" indent="-514350" defTabSz="1193566" hangingPunct="0">
              <a:buFont typeface="+mj-lt"/>
              <a:buAutoNum type="arabicPeriod"/>
              <a:defRPr/>
            </a:pPr>
            <a:r>
              <a:rPr lang="ru-RU" sz="23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едусмотрены процессы маркировки остатков и замены испорченных этикеток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1" y="293816"/>
            <a:ext cx="5978422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личия о маркировки сигарет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783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1" y="293816"/>
            <a:ext cx="3981180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ли и обязанности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BED2C7AF-0B9B-9A49-A2F7-BF492CC60069}"/>
              </a:ext>
            </a:extLst>
          </p:cNvPr>
          <p:cNvSpPr txBox="1"/>
          <p:nvPr/>
        </p:nvSpPr>
        <p:spPr>
          <a:xfrm>
            <a:off x="2162395" y="6459634"/>
            <a:ext cx="4358719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*</a:t>
            </a: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от немаркированной продукции разрешен до 07.2021</a:t>
            </a:r>
          </a:p>
        </p:txBody>
      </p:sp>
      <p:pic>
        <p:nvPicPr>
          <p:cNvPr id="3" name="Рисунок 2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F3B8ACF0-459B-4444-8C1F-B0231AE684A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2395" y="2198006"/>
            <a:ext cx="1440000" cy="1440000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675041" y="3855193"/>
            <a:ext cx="3339610" cy="1735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ны нанести на каждую новую упаковку товара код маркировки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</a:p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7.2020 запрещено продавать или ввозить немаркированный товар </a:t>
            </a: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1A7ACF51-1A17-124A-B34D-3902184FB763}"/>
              </a:ext>
            </a:extLst>
          </p:cNvPr>
          <p:cNvSpPr txBox="1"/>
          <p:nvPr/>
        </p:nvSpPr>
        <p:spPr>
          <a:xfrm>
            <a:off x="4465177" y="3855193"/>
            <a:ext cx="3240000" cy="1735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ны отсканировать код маркировки при продаже </a:t>
            </a:r>
            <a:r>
              <a:rPr lang="en-US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     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кассе 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endParaRPr lang="ru-RU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7.2020 запрещено продавать без отправки кода маркировки в чек </a:t>
            </a:r>
          </a:p>
        </p:txBody>
      </p:sp>
      <p:sp>
        <p:nvSpPr>
          <p:cNvPr id="8" name="object 10">
            <a:extLst>
              <a:ext uri="{FF2B5EF4-FFF2-40B4-BE49-F238E27FC236}">
                <a16:creationId xmlns:a16="http://schemas.microsoft.com/office/drawing/2014/main" id="{7624C3DE-19ED-9946-BDB2-A24A641D30A3}"/>
              </a:ext>
            </a:extLst>
          </p:cNvPr>
          <p:cNvSpPr txBox="1"/>
          <p:nvPr/>
        </p:nvSpPr>
        <p:spPr>
          <a:xfrm>
            <a:off x="8255314" y="3855193"/>
            <a:ext cx="3240000" cy="1735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ны продавать маркированную продукцию </a:t>
            </a:r>
            <a:r>
              <a:rPr lang="en-US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   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электронном УПД </a:t>
            </a:r>
            <a:endParaRPr lang="en-US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endParaRPr lang="ru-RU" sz="16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marL="180000" indent="-1800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7.2020 запрещено продавать без передачи кода маркировки В ГИС МТ</a:t>
            </a:r>
          </a:p>
        </p:txBody>
      </p:sp>
      <p:pic>
        <p:nvPicPr>
          <p:cNvPr id="10" name="Рисунок 9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53FE9A0A-381F-2940-87C7-B1FA730875B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5177" y="2198006"/>
            <a:ext cx="1440000" cy="144000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E4D769C-5D56-EF45-B10C-34D21460D8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55314" y="2198006"/>
            <a:ext cx="1440000" cy="1440000"/>
          </a:xfrm>
          <a:prstGeom prst="rect">
            <a:avLst/>
          </a:prstGeom>
        </p:spPr>
      </p:pic>
      <p:sp>
        <p:nvSpPr>
          <p:cNvPr id="15" name="object 10">
            <a:extLst>
              <a:ext uri="{FF2B5EF4-FFF2-40B4-BE49-F238E27FC236}">
                <a16:creationId xmlns:a16="http://schemas.microsoft.com/office/drawing/2014/main" id="{1054BEA6-D089-6C4B-839A-74BA0A9DE2EC}"/>
              </a:ext>
            </a:extLst>
          </p:cNvPr>
          <p:cNvSpPr txBox="1"/>
          <p:nvPr/>
        </p:nvSpPr>
        <p:spPr>
          <a:xfrm>
            <a:off x="8255314" y="1586610"/>
            <a:ext cx="3240000" cy="5039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товые</a:t>
            </a:r>
          </a:p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мпании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77AF9606-4040-2248-A1DF-FA5369E5B619}"/>
              </a:ext>
            </a:extLst>
          </p:cNvPr>
          <p:cNvSpPr txBox="1"/>
          <p:nvPr/>
        </p:nvSpPr>
        <p:spPr>
          <a:xfrm>
            <a:off x="4465177" y="1586610"/>
            <a:ext cx="3240000" cy="5039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озничные</a:t>
            </a:r>
          </a:p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газины 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ABCB4E68-2ED6-1C4F-8206-2C9AD23A41B3}"/>
              </a:ext>
            </a:extLst>
          </p:cNvPr>
          <p:cNvSpPr txBox="1"/>
          <p:nvPr/>
        </p:nvSpPr>
        <p:spPr>
          <a:xfrm>
            <a:off x="675041" y="1586610"/>
            <a:ext cx="3240000" cy="5039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и</a:t>
            </a:r>
          </a:p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еры </a:t>
            </a:r>
          </a:p>
        </p:txBody>
      </p:sp>
      <p:cxnSp>
        <p:nvCxnSpPr>
          <p:cNvPr id="18" name="Straight Connector 5">
            <a:extLst>
              <a:ext uri="{FF2B5EF4-FFF2-40B4-BE49-F238E27FC236}">
                <a16:creationId xmlns:a16="http://schemas.microsoft.com/office/drawing/2014/main" id="{9834F472-C5DE-6C45-AF8F-3C1C8565B2A9}"/>
              </a:ext>
            </a:extLst>
          </p:cNvPr>
          <p:cNvCxnSpPr>
            <a:cxnSpLocks/>
          </p:cNvCxnSpPr>
          <p:nvPr/>
        </p:nvCxnSpPr>
        <p:spPr>
          <a:xfrm>
            <a:off x="4181836" y="1586610"/>
            <a:ext cx="0" cy="420459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">
            <a:extLst>
              <a:ext uri="{FF2B5EF4-FFF2-40B4-BE49-F238E27FC236}">
                <a16:creationId xmlns:a16="http://schemas.microsoft.com/office/drawing/2014/main" id="{8E5D30C7-A2CF-F44E-8CCC-EA57E88FF006}"/>
              </a:ext>
            </a:extLst>
          </p:cNvPr>
          <p:cNvCxnSpPr>
            <a:cxnSpLocks/>
          </p:cNvCxnSpPr>
          <p:nvPr/>
        </p:nvCxnSpPr>
        <p:spPr>
          <a:xfrm>
            <a:off x="7926522" y="1586610"/>
            <a:ext cx="0" cy="420459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850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1661630" y="3115452"/>
            <a:ext cx="9419454" cy="81176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2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 вас, скорее всего, все уже в порядке. </a:t>
            </a:r>
          </a:p>
          <a:p>
            <a:pPr lvl="0" algn="ctr" defTabSz="1193566" hangingPunct="0">
              <a:defRPr/>
            </a:pPr>
            <a:r>
              <a:rPr lang="ru-RU" sz="2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О, проверьте настройки и поговорите с поставщиками ПО.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293816"/>
            <a:ext cx="6158897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, кто уже работает с сигаретами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19259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617C73D9-D902-394B-97EB-317F41E55D6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783325" y="3204353"/>
            <a:ext cx="5424970" cy="12836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сть два варианта:</a:t>
            </a: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азобраться самостоятельно</a:t>
            </a:r>
          </a:p>
          <a:p>
            <a:pPr marL="514350" lvl="0" indent="-51435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обрести готовое решение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293816"/>
            <a:ext cx="8108013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чать работать с системой маркировки?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6B7C6F7-F9D0-C049-A316-386C1A5637D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8193" y="1440180"/>
            <a:ext cx="6632799" cy="4812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358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10">
            <a:extLst>
              <a:ext uri="{FF2B5EF4-FFF2-40B4-BE49-F238E27FC236}">
                <a16:creationId xmlns:a16="http://schemas.microsoft.com/office/drawing/2014/main" id="{F691E8E8-0647-704F-B009-1D833BE96413}"/>
              </a:ext>
            </a:extLst>
          </p:cNvPr>
          <p:cNvSpPr txBox="1"/>
          <p:nvPr/>
        </p:nvSpPr>
        <p:spPr>
          <a:xfrm>
            <a:off x="1808490" y="1598925"/>
            <a:ext cx="5725759" cy="171970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олжен делать? </a:t>
            </a:r>
          </a:p>
          <a:p>
            <a:pPr marL="457200" lvl="0" indent="-45720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ключать в чек коды маркировки</a:t>
            </a:r>
          </a:p>
          <a:p>
            <a:pPr marL="457200" lvl="0" indent="-45720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ировать код маркировки при продаже</a:t>
            </a:r>
          </a:p>
          <a:p>
            <a:pPr marL="457200" lvl="0" indent="-457200" defTabSz="1193566" hangingPunct="0">
              <a:spcBef>
                <a:spcPts val="1000"/>
              </a:spcBef>
              <a:buFont typeface="+mj-lt"/>
              <a:buAutoNum type="arabicPeriod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ять товар по электронной УПД</a:t>
            </a:r>
          </a:p>
        </p:txBody>
      </p:sp>
      <p:sp>
        <p:nvSpPr>
          <p:cNvPr id="30" name="Скругленный прямоугольник 29">
            <a:extLst>
              <a:ext uri="{FF2B5EF4-FFF2-40B4-BE49-F238E27FC236}">
                <a16:creationId xmlns:a16="http://schemas.microsoft.com/office/drawing/2014/main" id="{38EBA289-A08A-C241-A3DD-E2C8F7CD048E}"/>
              </a:ext>
            </a:extLst>
          </p:cNvPr>
          <p:cNvSpPr/>
          <p:nvPr/>
        </p:nvSpPr>
        <p:spPr>
          <a:xfrm>
            <a:off x="675040" y="293816"/>
            <a:ext cx="6784539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80000" bIns="108000" rtlCol="0" anchor="ctr">
            <a:spAutoFit/>
          </a:bodyPr>
          <a:lstStyle/>
          <a:p>
            <a:r>
              <a:rPr lang="ru-RU" sz="2600" b="1" dirty="0">
                <a:solidFill>
                  <a:srgbClr val="59595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работает решение для розницы?</a:t>
            </a:r>
            <a:endParaRPr lang="en-US" sz="2600" b="1" dirty="0">
              <a:solidFill>
                <a:srgbClr val="59595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909B9843-3ED7-7E40-9799-2EB48CF52515}"/>
              </a:ext>
            </a:extLst>
          </p:cNvPr>
          <p:cNvSpPr txBox="1"/>
          <p:nvPr/>
        </p:nvSpPr>
        <p:spPr>
          <a:xfrm>
            <a:off x="1072083" y="6459634"/>
            <a:ext cx="6392056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*Всем нужна УКЭП и регистрация в ГИС МТ, но я не буду об этом говорить каждый раз.</a:t>
            </a:r>
          </a:p>
        </p:txBody>
      </p:sp>
      <p:pic>
        <p:nvPicPr>
          <p:cNvPr id="12" name="Picture 26">
            <a:extLst>
              <a:ext uri="{FF2B5EF4-FFF2-40B4-BE49-F238E27FC236}">
                <a16:creationId xmlns:a16="http://schemas.microsoft.com/office/drawing/2014/main" id="{5C064DDE-98C0-584E-819C-46D6D496466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30168" y="4337706"/>
            <a:ext cx="824404" cy="1080000"/>
          </a:xfrm>
          <a:prstGeom prst="rect">
            <a:avLst/>
          </a:prstGeom>
        </p:spPr>
      </p:pic>
      <p:pic>
        <p:nvPicPr>
          <p:cNvPr id="14" name="Picture 26">
            <a:extLst>
              <a:ext uri="{FF2B5EF4-FFF2-40B4-BE49-F238E27FC236}">
                <a16:creationId xmlns:a16="http://schemas.microsoft.com/office/drawing/2014/main" id="{AD36B8B5-FAC8-EC41-B9A5-84AC8BC6BC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4690" y="4157706"/>
            <a:ext cx="1440000" cy="1440000"/>
          </a:xfrm>
          <a:prstGeom prst="rect">
            <a:avLst/>
          </a:prstGeom>
        </p:spPr>
      </p:pic>
      <p:pic>
        <p:nvPicPr>
          <p:cNvPr id="15" name="Picture 26">
            <a:extLst>
              <a:ext uri="{FF2B5EF4-FFF2-40B4-BE49-F238E27FC236}">
                <a16:creationId xmlns:a16="http://schemas.microsoft.com/office/drawing/2014/main" id="{8B2C3D92-1E95-C745-AE62-BA4D60CBDB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19006" y="4157706"/>
            <a:ext cx="1440000" cy="1440000"/>
          </a:xfrm>
          <a:prstGeom prst="rect">
            <a:avLst/>
          </a:prstGeom>
        </p:spPr>
      </p:pic>
      <p:sp>
        <p:nvSpPr>
          <p:cNvPr id="16" name="object 10">
            <a:extLst>
              <a:ext uri="{FF2B5EF4-FFF2-40B4-BE49-F238E27FC236}">
                <a16:creationId xmlns:a16="http://schemas.microsoft.com/office/drawing/2014/main" id="{E644A490-A814-434F-8E11-7A1630257A75}"/>
              </a:ext>
            </a:extLst>
          </p:cNvPr>
          <p:cNvSpPr txBox="1"/>
          <p:nvPr/>
        </p:nvSpPr>
        <p:spPr>
          <a:xfrm>
            <a:off x="1808490" y="3634192"/>
            <a:ext cx="4226934" cy="41165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26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для этого нужно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A02433-B65D-C74D-8374-2F268997CEE3}"/>
              </a:ext>
            </a:extLst>
          </p:cNvPr>
          <p:cNvSpPr txBox="1"/>
          <p:nvPr/>
        </p:nvSpPr>
        <p:spPr>
          <a:xfrm>
            <a:off x="1868603" y="5572547"/>
            <a:ext cx="11416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Д сканер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2B5643B-7CDB-0E41-9E34-58FA347402F8}"/>
              </a:ext>
            </a:extLst>
          </p:cNvPr>
          <p:cNvSpPr/>
          <p:nvPr/>
        </p:nvSpPr>
        <p:spPr>
          <a:xfrm>
            <a:off x="4583955" y="5572547"/>
            <a:ext cx="23214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новление ПО кассы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A884F65A-9699-A942-A718-304455361E07}"/>
              </a:ext>
            </a:extLst>
          </p:cNvPr>
          <p:cNvSpPr/>
          <p:nvPr/>
        </p:nvSpPr>
        <p:spPr>
          <a:xfrm>
            <a:off x="8125358" y="5572547"/>
            <a:ext cx="25224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93566" hangingPunct="0">
              <a:spcBef>
                <a:spcPts val="1000"/>
              </a:spcBef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ключение к ЮЗ ЭДО</a:t>
            </a:r>
          </a:p>
        </p:txBody>
      </p:sp>
      <p:cxnSp>
        <p:nvCxnSpPr>
          <p:cNvPr id="25" name="Straight Connector 5">
            <a:extLst>
              <a:ext uri="{FF2B5EF4-FFF2-40B4-BE49-F238E27FC236}">
                <a16:creationId xmlns:a16="http://schemas.microsoft.com/office/drawing/2014/main" id="{B5E33D74-4E8A-C241-A15F-95E96B74F9CB}"/>
              </a:ext>
            </a:extLst>
          </p:cNvPr>
          <p:cNvCxnSpPr>
            <a:cxnSpLocks/>
          </p:cNvCxnSpPr>
          <p:nvPr/>
        </p:nvCxnSpPr>
        <p:spPr>
          <a:xfrm>
            <a:off x="3859619" y="4455901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5">
            <a:extLst>
              <a:ext uri="{FF2B5EF4-FFF2-40B4-BE49-F238E27FC236}">
                <a16:creationId xmlns:a16="http://schemas.microsoft.com/office/drawing/2014/main" id="{A2FB5E3D-9542-BB49-89D2-4B63B3496DEA}"/>
              </a:ext>
            </a:extLst>
          </p:cNvPr>
          <p:cNvCxnSpPr>
            <a:cxnSpLocks/>
          </p:cNvCxnSpPr>
          <p:nvPr/>
        </p:nvCxnSpPr>
        <p:spPr>
          <a:xfrm>
            <a:off x="7495953" y="4455901"/>
            <a:ext cx="0" cy="138261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7306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6815B2164DA1D4A8705E772CD7FA4B6" ma:contentTypeVersion="13" ma:contentTypeDescription="Создание документа." ma:contentTypeScope="" ma:versionID="af4e0e8793e3a4c62e081e06f5e433be">
  <xsd:schema xmlns:xsd="http://www.w3.org/2001/XMLSchema" xmlns:xs="http://www.w3.org/2001/XMLSchema" xmlns:p="http://schemas.microsoft.com/office/2006/metadata/properties" xmlns:ns3="2c23abe7-d949-4552-b05f-43ea91e6ab6b" xmlns:ns4="a6da5e78-8eae-4815-8d61-f5b5762a31b8" targetNamespace="http://schemas.microsoft.com/office/2006/metadata/properties" ma:root="true" ma:fieldsID="e52c3aef23be7c69c64f79c5df446e51" ns3:_="" ns4:_="">
    <xsd:import namespace="2c23abe7-d949-4552-b05f-43ea91e6ab6b"/>
    <xsd:import namespace="a6da5e78-8eae-4815-8d61-f5b5762a31b8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23abe7-d949-4552-b05f-43ea91e6ab6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da5e78-8eae-4815-8d61-f5b5762a31b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AE566F-0131-4905-AAAB-F1BA5B3475C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70F042D-AE27-418C-BB70-46D56973A4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c23abe7-d949-4552-b05f-43ea91e6ab6b"/>
    <ds:schemaRef ds:uri="a6da5e78-8eae-4815-8d61-f5b5762a31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A43D6B7-02AD-4E15-831A-57C753E5845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2</TotalTime>
  <Words>617</Words>
  <Application>Microsoft Macintosh PowerPoint</Application>
  <PresentationFormat>Широкоэкранный</PresentationFormat>
  <Paragraphs>137</Paragraphs>
  <Slides>1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Calibri</vt:lpstr>
      <vt:lpstr>PT Sans Caption</vt:lpstr>
      <vt:lpstr>Arial</vt:lpstr>
      <vt:lpstr>Segoe UI</vt:lpstr>
      <vt:lpstr>Calibri Light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 Черняков</dc:creator>
  <cp:lastModifiedBy>Железнов Андрей</cp:lastModifiedBy>
  <cp:revision>16</cp:revision>
  <dcterms:created xsi:type="dcterms:W3CDTF">2020-05-15T05:52:42Z</dcterms:created>
  <dcterms:modified xsi:type="dcterms:W3CDTF">2020-05-22T11:20:23Z</dcterms:modified>
</cp:coreProperties>
</file>